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7" r:id="rId2"/>
    <p:sldId id="263" r:id="rId3"/>
    <p:sldId id="260" r:id="rId4"/>
    <p:sldId id="271" r:id="rId5"/>
    <p:sldId id="273" r:id="rId6"/>
    <p:sldId id="274" r:id="rId7"/>
    <p:sldId id="275" r:id="rId8"/>
    <p:sldId id="268" r:id="rId9"/>
    <p:sldId id="269" r:id="rId10"/>
    <p:sldId id="272" r:id="rId11"/>
    <p:sldId id="265" r:id="rId12"/>
    <p:sldId id="266" r:id="rId13"/>
    <p:sldId id="262" r:id="rId14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AC26C9-C301-46F8-972D-D0492D3E37E8}" v="78" dt="2021-04-29T13:07:30.2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07"/>
  </p:normalViewPr>
  <p:slideViewPr>
    <p:cSldViewPr snapToGrid="0" snapToObjects="1">
      <p:cViewPr>
        <p:scale>
          <a:sx n="99" d="100"/>
          <a:sy n="99" d="100"/>
        </p:scale>
        <p:origin x="36" y="23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h Reiss" userId="a90d6cd88c30b6c6" providerId="LiveId" clId="{A5AC26C9-C301-46F8-972D-D0492D3E37E8}"/>
    <pc:docChg chg="undo custSel mod addSld delSld modSld">
      <pc:chgData name="Josh Reiss" userId="a90d6cd88c30b6c6" providerId="LiveId" clId="{A5AC26C9-C301-46F8-972D-D0492D3E37E8}" dt="2021-04-29T13:10:02.987" v="1336" actId="21"/>
      <pc:docMkLst>
        <pc:docMk/>
      </pc:docMkLst>
      <pc:sldChg chg="addSp delSp modSp mod">
        <pc:chgData name="Josh Reiss" userId="a90d6cd88c30b6c6" providerId="LiveId" clId="{A5AC26C9-C301-46F8-972D-D0492D3E37E8}" dt="2021-04-29T11:29:15.457" v="1120" actId="20577"/>
        <pc:sldMkLst>
          <pc:docMk/>
          <pc:sldMk cId="3668117054" sldId="262"/>
        </pc:sldMkLst>
        <pc:spChg chg="mod">
          <ac:chgData name="Josh Reiss" userId="a90d6cd88c30b6c6" providerId="LiveId" clId="{A5AC26C9-C301-46F8-972D-D0492D3E37E8}" dt="2021-04-29T11:19:57.399" v="959" actId="20577"/>
          <ac:spMkLst>
            <pc:docMk/>
            <pc:sldMk cId="3668117054" sldId="262"/>
            <ac:spMk id="2" creationId="{F0D3D1A6-1EA8-F741-BAA7-FF883020E51B}"/>
          </ac:spMkLst>
        </pc:spChg>
        <pc:spChg chg="mod">
          <ac:chgData name="Josh Reiss" userId="a90d6cd88c30b6c6" providerId="LiveId" clId="{A5AC26C9-C301-46F8-972D-D0492D3E37E8}" dt="2021-04-29T11:29:15.457" v="1120" actId="20577"/>
          <ac:spMkLst>
            <pc:docMk/>
            <pc:sldMk cId="3668117054" sldId="262"/>
            <ac:spMk id="3" creationId="{6806A786-B97F-7C42-B90F-DC4624EB6938}"/>
          </ac:spMkLst>
        </pc:spChg>
        <pc:spChg chg="add del">
          <ac:chgData name="Josh Reiss" userId="a90d6cd88c30b6c6" providerId="LiveId" clId="{A5AC26C9-C301-46F8-972D-D0492D3E37E8}" dt="2021-04-29T11:21:17.120" v="983"/>
          <ac:spMkLst>
            <pc:docMk/>
            <pc:sldMk cId="3668117054" sldId="262"/>
            <ac:spMk id="4" creationId="{56B51201-A29E-43E5-91AD-7B4B9D55EC5C}"/>
          </ac:spMkLst>
        </pc:spChg>
      </pc:sldChg>
      <pc:sldChg chg="del">
        <pc:chgData name="Josh Reiss" userId="a90d6cd88c30b6c6" providerId="LiveId" clId="{A5AC26C9-C301-46F8-972D-D0492D3E37E8}" dt="2021-04-29T11:30:20.895" v="1121" actId="47"/>
        <pc:sldMkLst>
          <pc:docMk/>
          <pc:sldMk cId="1235514503" sldId="264"/>
        </pc:sldMkLst>
      </pc:sldChg>
      <pc:sldChg chg="addSp delSp modSp add mod">
        <pc:chgData name="Josh Reiss" userId="a90d6cd88c30b6c6" providerId="LiveId" clId="{A5AC26C9-C301-46F8-972D-D0492D3E37E8}" dt="2021-04-29T13:09:49.133" v="1335" actId="1076"/>
        <pc:sldMkLst>
          <pc:docMk/>
          <pc:sldMk cId="1536811559" sldId="265"/>
        </pc:sldMkLst>
        <pc:spChg chg="mod">
          <ac:chgData name="Josh Reiss" userId="a90d6cd88c30b6c6" providerId="LiveId" clId="{A5AC26C9-C301-46F8-972D-D0492D3E37E8}" dt="2021-04-27T12:58:07.694" v="49" actId="20577"/>
          <ac:spMkLst>
            <pc:docMk/>
            <pc:sldMk cId="1536811559" sldId="265"/>
            <ac:spMk id="2" creationId="{98E35083-4AE7-3E4F-924E-60D323E8A00E}"/>
          </ac:spMkLst>
        </pc:spChg>
        <pc:spChg chg="del mod">
          <ac:chgData name="Josh Reiss" userId="a90d6cd88c30b6c6" providerId="LiveId" clId="{A5AC26C9-C301-46F8-972D-D0492D3E37E8}" dt="2021-04-27T12:58:35.831" v="53"/>
          <ac:spMkLst>
            <pc:docMk/>
            <pc:sldMk cId="1536811559" sldId="265"/>
            <ac:spMk id="3" creationId="{40E45612-6423-2649-8292-FE1D0681EB19}"/>
          </ac:spMkLst>
        </pc:spChg>
        <pc:spChg chg="add del mod">
          <ac:chgData name="Josh Reiss" userId="a90d6cd88c30b6c6" providerId="LiveId" clId="{A5AC26C9-C301-46F8-972D-D0492D3E37E8}" dt="2021-04-29T08:42:03.766" v="85" actId="478"/>
          <ac:spMkLst>
            <pc:docMk/>
            <pc:sldMk cId="1536811559" sldId="265"/>
            <ac:spMk id="3" creationId="{59CAA1F5-8DC6-4BF3-AED2-A8E8F409E383}"/>
          </ac:spMkLst>
        </pc:spChg>
        <pc:spChg chg="add mod">
          <ac:chgData name="Josh Reiss" userId="a90d6cd88c30b6c6" providerId="LiveId" clId="{A5AC26C9-C301-46F8-972D-D0492D3E37E8}" dt="2021-04-29T13:09:49.133" v="1335" actId="1076"/>
          <ac:spMkLst>
            <pc:docMk/>
            <pc:sldMk cId="1536811559" sldId="265"/>
            <ac:spMk id="4" creationId="{C7F768EC-9740-47E5-AD07-68396457EA18}"/>
          </ac:spMkLst>
        </pc:spChg>
        <pc:picChg chg="add mod">
          <ac:chgData name="Josh Reiss" userId="a90d6cd88c30b6c6" providerId="LiveId" clId="{A5AC26C9-C301-46F8-972D-D0492D3E37E8}" dt="2021-04-29T08:42:26.465" v="88" actId="1076"/>
          <ac:picMkLst>
            <pc:docMk/>
            <pc:sldMk cId="1536811559" sldId="265"/>
            <ac:picMk id="5" creationId="{039F27E7-379D-429E-AA5A-AAD970CCA108}"/>
          </ac:picMkLst>
        </pc:picChg>
      </pc:sldChg>
      <pc:sldChg chg="modSp add mod">
        <pc:chgData name="Josh Reiss" userId="a90d6cd88c30b6c6" providerId="LiveId" clId="{A5AC26C9-C301-46F8-972D-D0492D3E37E8}" dt="2021-04-29T13:10:02.987" v="1336" actId="21"/>
        <pc:sldMkLst>
          <pc:docMk/>
          <pc:sldMk cId="480312314" sldId="266"/>
        </pc:sldMkLst>
        <pc:spChg chg="mod">
          <ac:chgData name="Josh Reiss" userId="a90d6cd88c30b6c6" providerId="LiveId" clId="{A5AC26C9-C301-46F8-972D-D0492D3E37E8}" dt="2021-04-29T13:10:02.987" v="1336" actId="21"/>
          <ac:spMkLst>
            <pc:docMk/>
            <pc:sldMk cId="480312314" sldId="266"/>
            <ac:spMk id="3" creationId="{40E45612-6423-2649-8292-FE1D0681EB19}"/>
          </ac:spMkLst>
        </pc:spChg>
      </pc:sldChg>
      <pc:sldChg chg="add del">
        <pc:chgData name="Josh Reiss" userId="a90d6cd88c30b6c6" providerId="LiveId" clId="{A5AC26C9-C301-46F8-972D-D0492D3E37E8}" dt="2021-04-27T12:00:19.018" v="23"/>
        <pc:sldMkLst>
          <pc:docMk/>
          <pc:sldMk cId="1591003071" sldId="266"/>
        </pc:sldMkLst>
      </pc:sldChg>
      <pc:sldChg chg="add del">
        <pc:chgData name="Josh Reiss" userId="a90d6cd88c30b6c6" providerId="LiveId" clId="{A5AC26C9-C301-46F8-972D-D0492D3E37E8}" dt="2021-04-27T12:00:25.734" v="25"/>
        <pc:sldMkLst>
          <pc:docMk/>
          <pc:sldMk cId="2517230784" sldId="266"/>
        </pc:sldMkLst>
      </pc:sldChg>
      <pc:sldChg chg="addSp delSp modSp new del mod setBg">
        <pc:chgData name="Josh Reiss" userId="a90d6cd88c30b6c6" providerId="LiveId" clId="{A5AC26C9-C301-46F8-972D-D0492D3E37E8}" dt="2021-04-29T09:23:40.157" v="177" actId="47"/>
        <pc:sldMkLst>
          <pc:docMk/>
          <pc:sldMk cId="1584017746" sldId="267"/>
        </pc:sldMkLst>
        <pc:spChg chg="add del mod">
          <ac:chgData name="Josh Reiss" userId="a90d6cd88c30b6c6" providerId="LiveId" clId="{A5AC26C9-C301-46F8-972D-D0492D3E37E8}" dt="2021-04-29T09:22:50.147" v="165"/>
          <ac:spMkLst>
            <pc:docMk/>
            <pc:sldMk cId="1584017746" sldId="267"/>
            <ac:spMk id="2" creationId="{AF77A50A-3C6D-4EC1-9273-F91F6EB0D245}"/>
          </ac:spMkLst>
        </pc:spChg>
        <pc:spChg chg="del">
          <ac:chgData name="Josh Reiss" userId="a90d6cd88c30b6c6" providerId="LiveId" clId="{A5AC26C9-C301-46F8-972D-D0492D3E37E8}" dt="2021-04-29T09:18:14.288" v="90"/>
          <ac:spMkLst>
            <pc:docMk/>
            <pc:sldMk cId="1584017746" sldId="267"/>
            <ac:spMk id="3" creationId="{657CD74A-DA9D-4864-9E0C-0E4BBFD58707}"/>
          </ac:spMkLst>
        </pc:spChg>
        <pc:spChg chg="add">
          <ac:chgData name="Josh Reiss" userId="a90d6cd88c30b6c6" providerId="LiveId" clId="{A5AC26C9-C301-46F8-972D-D0492D3E37E8}" dt="2021-04-29T09:18:57.627" v="95" actId="26606"/>
          <ac:spMkLst>
            <pc:docMk/>
            <pc:sldMk cId="1584017746" sldId="267"/>
            <ac:spMk id="9" creationId="{442F1C99-DC89-4C0E-9645-78ED266B87F6}"/>
          </ac:spMkLst>
        </pc:spChg>
        <pc:grpChg chg="add">
          <ac:chgData name="Josh Reiss" userId="a90d6cd88c30b6c6" providerId="LiveId" clId="{A5AC26C9-C301-46F8-972D-D0492D3E37E8}" dt="2021-04-29T09:18:57.627" v="95" actId="26606"/>
          <ac:grpSpMkLst>
            <pc:docMk/>
            <pc:sldMk cId="1584017746" sldId="267"/>
            <ac:grpSpMk id="11" creationId="{4396BB5E-BA6F-47C5-9F8F-843CAB8EC84B}"/>
          </ac:grpSpMkLst>
        </pc:grpChg>
        <pc:graphicFrameChg chg="add mod modGraphic">
          <ac:chgData name="Josh Reiss" userId="a90d6cd88c30b6c6" providerId="LiveId" clId="{A5AC26C9-C301-46F8-972D-D0492D3E37E8}" dt="2021-04-29T09:18:57.627" v="95" actId="26606"/>
          <ac:graphicFrameMkLst>
            <pc:docMk/>
            <pc:sldMk cId="1584017746" sldId="267"/>
            <ac:graphicFrameMk id="4" creationId="{7A38AABB-ED16-4EA3-9E75-1BA524B3FF55}"/>
          </ac:graphicFrameMkLst>
        </pc:graphicFrameChg>
      </pc:sldChg>
      <pc:sldChg chg="add del">
        <pc:chgData name="Josh Reiss" userId="a90d6cd88c30b6c6" providerId="LiveId" clId="{A5AC26C9-C301-46F8-972D-D0492D3E37E8}" dt="2021-04-27T12:58:16.203" v="52"/>
        <pc:sldMkLst>
          <pc:docMk/>
          <pc:sldMk cId="3572781334" sldId="267"/>
        </pc:sldMkLst>
      </pc:sldChg>
      <pc:sldChg chg="addSp modSp new mod">
        <pc:chgData name="Josh Reiss" userId="a90d6cd88c30b6c6" providerId="LiveId" clId="{A5AC26C9-C301-46F8-972D-D0492D3E37E8}" dt="2021-04-29T09:23:58.811" v="181" actId="20577"/>
        <pc:sldMkLst>
          <pc:docMk/>
          <pc:sldMk cId="3593400316" sldId="268"/>
        </pc:sldMkLst>
        <pc:spChg chg="mod">
          <ac:chgData name="Josh Reiss" userId="a90d6cd88c30b6c6" providerId="LiveId" clId="{A5AC26C9-C301-46F8-972D-D0492D3E37E8}" dt="2021-04-29T09:23:00.259" v="175" actId="20577"/>
          <ac:spMkLst>
            <pc:docMk/>
            <pc:sldMk cId="3593400316" sldId="268"/>
            <ac:spMk id="2" creationId="{20C916C0-76F6-477D-8548-E95BD5CB8A85}"/>
          </ac:spMkLst>
        </pc:spChg>
        <pc:graphicFrameChg chg="add mod modGraphic">
          <ac:chgData name="Josh Reiss" userId="a90d6cd88c30b6c6" providerId="LiveId" clId="{A5AC26C9-C301-46F8-972D-D0492D3E37E8}" dt="2021-04-29T09:23:58.811" v="181" actId="20577"/>
          <ac:graphicFrameMkLst>
            <pc:docMk/>
            <pc:sldMk cId="3593400316" sldId="268"/>
            <ac:graphicFrameMk id="4" creationId="{0A3CEB7A-9576-46BA-B344-6711BD2B5DA8}"/>
          </ac:graphicFrameMkLst>
        </pc:graphicFrameChg>
      </pc:sldChg>
      <pc:sldChg chg="add del">
        <pc:chgData name="Josh Reiss" userId="a90d6cd88c30b6c6" providerId="LiveId" clId="{A5AC26C9-C301-46F8-972D-D0492D3E37E8}" dt="2021-04-29T09:24:03.490" v="182" actId="47"/>
        <pc:sldMkLst>
          <pc:docMk/>
          <pc:sldMk cId="676153598" sldId="269"/>
        </pc:sldMkLst>
      </pc:sldChg>
      <pc:sldChg chg="modSp add mod">
        <pc:chgData name="Josh Reiss" userId="a90d6cd88c30b6c6" providerId="LiveId" clId="{A5AC26C9-C301-46F8-972D-D0492D3E37E8}" dt="2021-04-29T13:06:55.242" v="1245" actId="20577"/>
        <pc:sldMkLst>
          <pc:docMk/>
          <pc:sldMk cId="3204734581" sldId="269"/>
        </pc:sldMkLst>
        <pc:spChg chg="mod">
          <ac:chgData name="Josh Reiss" userId="a90d6cd88c30b6c6" providerId="LiveId" clId="{A5AC26C9-C301-46F8-972D-D0492D3E37E8}" dt="2021-04-29T13:06:55.242" v="1245" actId="20577"/>
          <ac:spMkLst>
            <pc:docMk/>
            <pc:sldMk cId="3204734581" sldId="269"/>
            <ac:spMk id="3" creationId="{A3333F0C-AD02-41D7-BFBB-D95129AE45B6}"/>
          </ac:spMkLst>
        </pc:spChg>
        <pc:graphicFrameChg chg="mod modGraphic">
          <ac:chgData name="Josh Reiss" userId="a90d6cd88c30b6c6" providerId="LiveId" clId="{A5AC26C9-C301-46F8-972D-D0492D3E37E8}" dt="2021-04-29T12:56:58.735" v="1198"/>
          <ac:graphicFrameMkLst>
            <pc:docMk/>
            <pc:sldMk cId="3204734581" sldId="269"/>
            <ac:graphicFrameMk id="4" creationId="{0A3CEB7A-9576-46BA-B344-6711BD2B5DA8}"/>
          </ac:graphicFrameMkLst>
        </pc:graphicFrameChg>
      </pc:sldChg>
      <pc:sldChg chg="modSp new del mod">
        <pc:chgData name="Josh Reiss" userId="a90d6cd88c30b6c6" providerId="LiveId" clId="{A5AC26C9-C301-46F8-972D-D0492D3E37E8}" dt="2021-04-29T11:18:45.585" v="924" actId="47"/>
        <pc:sldMkLst>
          <pc:docMk/>
          <pc:sldMk cId="1025218223" sldId="270"/>
        </pc:sldMkLst>
        <pc:spChg chg="mod">
          <ac:chgData name="Josh Reiss" userId="a90d6cd88c30b6c6" providerId="LiveId" clId="{A5AC26C9-C301-46F8-972D-D0492D3E37E8}" dt="2021-04-29T09:27:17.453" v="229" actId="20577"/>
          <ac:spMkLst>
            <pc:docMk/>
            <pc:sldMk cId="1025218223" sldId="270"/>
            <ac:spMk id="2" creationId="{7E613D19-DEC4-4DBD-977F-A387403754EF}"/>
          </ac:spMkLst>
        </pc:spChg>
      </pc:sldChg>
      <pc:sldChg chg="modSp add mod">
        <pc:chgData name="Josh Reiss" userId="a90d6cd88c30b6c6" providerId="LiveId" clId="{A5AC26C9-C301-46F8-972D-D0492D3E37E8}" dt="2021-04-29T10:54:58.833" v="605" actId="114"/>
        <pc:sldMkLst>
          <pc:docMk/>
          <pc:sldMk cId="2069987123" sldId="271"/>
        </pc:sldMkLst>
        <pc:spChg chg="mod">
          <ac:chgData name="Josh Reiss" userId="a90d6cd88c30b6c6" providerId="LiveId" clId="{A5AC26C9-C301-46F8-972D-D0492D3E37E8}" dt="2021-04-29T09:27:30.289" v="237" actId="20577"/>
          <ac:spMkLst>
            <pc:docMk/>
            <pc:sldMk cId="2069987123" sldId="271"/>
            <ac:spMk id="2" creationId="{7E613D19-DEC4-4DBD-977F-A387403754EF}"/>
          </ac:spMkLst>
        </pc:spChg>
        <pc:spChg chg="mod">
          <ac:chgData name="Josh Reiss" userId="a90d6cd88c30b6c6" providerId="LiveId" clId="{A5AC26C9-C301-46F8-972D-D0492D3E37E8}" dt="2021-04-29T10:54:58.833" v="605" actId="114"/>
          <ac:spMkLst>
            <pc:docMk/>
            <pc:sldMk cId="2069987123" sldId="271"/>
            <ac:spMk id="3" creationId="{567833BA-620E-4D4C-8C89-205D234F03FC}"/>
          </ac:spMkLst>
        </pc:spChg>
      </pc:sldChg>
      <pc:sldChg chg="modSp new mod">
        <pc:chgData name="Josh Reiss" userId="a90d6cd88c30b6c6" providerId="LiveId" clId="{A5AC26C9-C301-46F8-972D-D0492D3E37E8}" dt="2021-04-29T10:42:38.401" v="422" actId="6549"/>
        <pc:sldMkLst>
          <pc:docMk/>
          <pc:sldMk cId="3179680474" sldId="272"/>
        </pc:sldMkLst>
        <pc:spChg chg="mod">
          <ac:chgData name="Josh Reiss" userId="a90d6cd88c30b6c6" providerId="LiveId" clId="{A5AC26C9-C301-46F8-972D-D0492D3E37E8}" dt="2021-04-29T09:27:44.374" v="252" actId="20577"/>
          <ac:spMkLst>
            <pc:docMk/>
            <pc:sldMk cId="3179680474" sldId="272"/>
            <ac:spMk id="2" creationId="{5CEF625B-EF8B-4FAE-802D-FE266B237932}"/>
          </ac:spMkLst>
        </pc:spChg>
        <pc:spChg chg="mod">
          <ac:chgData name="Josh Reiss" userId="a90d6cd88c30b6c6" providerId="LiveId" clId="{A5AC26C9-C301-46F8-972D-D0492D3E37E8}" dt="2021-04-29T10:42:38.401" v="422" actId="6549"/>
          <ac:spMkLst>
            <pc:docMk/>
            <pc:sldMk cId="3179680474" sldId="272"/>
            <ac:spMk id="3" creationId="{E8F42448-AD60-4714-9FEB-209123798B5C}"/>
          </ac:spMkLst>
        </pc:spChg>
      </pc:sldChg>
      <pc:sldChg chg="addSp modSp new mod">
        <pc:chgData name="Josh Reiss" userId="a90d6cd88c30b6c6" providerId="LiveId" clId="{A5AC26C9-C301-46F8-972D-D0492D3E37E8}" dt="2021-04-29T11:03:46.923" v="673" actId="14100"/>
        <pc:sldMkLst>
          <pc:docMk/>
          <pc:sldMk cId="32296850" sldId="273"/>
        </pc:sldMkLst>
        <pc:spChg chg="mod">
          <ac:chgData name="Josh Reiss" userId="a90d6cd88c30b6c6" providerId="LiveId" clId="{A5AC26C9-C301-46F8-972D-D0492D3E37E8}" dt="2021-04-29T10:58:33.719" v="658" actId="20577"/>
          <ac:spMkLst>
            <pc:docMk/>
            <pc:sldMk cId="32296850" sldId="273"/>
            <ac:spMk id="2" creationId="{A9217FD1-9A91-4663-A975-AC0CD92A099E}"/>
          </ac:spMkLst>
        </pc:spChg>
        <pc:spChg chg="mod">
          <ac:chgData name="Josh Reiss" userId="a90d6cd88c30b6c6" providerId="LiveId" clId="{A5AC26C9-C301-46F8-972D-D0492D3E37E8}" dt="2021-04-29T11:03:38.002" v="670" actId="14100"/>
          <ac:spMkLst>
            <pc:docMk/>
            <pc:sldMk cId="32296850" sldId="273"/>
            <ac:spMk id="3" creationId="{76F4525B-419D-4B99-8BA2-98723BC76285}"/>
          </ac:spMkLst>
        </pc:spChg>
        <pc:picChg chg="add mod">
          <ac:chgData name="Josh Reiss" userId="a90d6cd88c30b6c6" providerId="LiveId" clId="{A5AC26C9-C301-46F8-972D-D0492D3E37E8}" dt="2021-04-29T10:58:21.758" v="637" actId="1076"/>
          <ac:picMkLst>
            <pc:docMk/>
            <pc:sldMk cId="32296850" sldId="273"/>
            <ac:picMk id="5" creationId="{6333B07C-BE4E-4D56-A5E1-954425DDF8AA}"/>
          </ac:picMkLst>
        </pc:picChg>
        <pc:picChg chg="add mod">
          <ac:chgData name="Josh Reiss" userId="a90d6cd88c30b6c6" providerId="LiveId" clId="{A5AC26C9-C301-46F8-972D-D0492D3E37E8}" dt="2021-04-29T11:03:46.923" v="673" actId="14100"/>
          <ac:picMkLst>
            <pc:docMk/>
            <pc:sldMk cId="32296850" sldId="273"/>
            <ac:picMk id="6" creationId="{C1040B31-4E53-41DE-B840-C105747510D1}"/>
          </ac:picMkLst>
        </pc:picChg>
      </pc:sldChg>
      <pc:sldChg chg="addSp delSp modSp add mod">
        <pc:chgData name="Josh Reiss" userId="a90d6cd88c30b6c6" providerId="LiveId" clId="{A5AC26C9-C301-46F8-972D-D0492D3E37E8}" dt="2021-04-29T11:13:16.225" v="742" actId="1076"/>
        <pc:sldMkLst>
          <pc:docMk/>
          <pc:sldMk cId="3272607221" sldId="274"/>
        </pc:sldMkLst>
        <pc:spChg chg="mod">
          <ac:chgData name="Josh Reiss" userId="a90d6cd88c30b6c6" providerId="LiveId" clId="{A5AC26C9-C301-46F8-972D-D0492D3E37E8}" dt="2021-04-29T11:04:18.489" v="681" actId="20577"/>
          <ac:spMkLst>
            <pc:docMk/>
            <pc:sldMk cId="3272607221" sldId="274"/>
            <ac:spMk id="2" creationId="{A9217FD1-9A91-4663-A975-AC0CD92A099E}"/>
          </ac:spMkLst>
        </pc:spChg>
        <pc:spChg chg="del">
          <ac:chgData name="Josh Reiss" userId="a90d6cd88c30b6c6" providerId="LiveId" clId="{A5AC26C9-C301-46F8-972D-D0492D3E37E8}" dt="2021-04-29T11:10:26.578" v="684" actId="478"/>
          <ac:spMkLst>
            <pc:docMk/>
            <pc:sldMk cId="3272607221" sldId="274"/>
            <ac:spMk id="3" creationId="{76F4525B-419D-4B99-8BA2-98723BC76285}"/>
          </ac:spMkLst>
        </pc:spChg>
        <pc:spChg chg="add mod">
          <ac:chgData name="Josh Reiss" userId="a90d6cd88c30b6c6" providerId="LiveId" clId="{A5AC26C9-C301-46F8-972D-D0492D3E37E8}" dt="2021-04-29T11:12:43.457" v="739" actId="14100"/>
          <ac:spMkLst>
            <pc:docMk/>
            <pc:sldMk cId="3272607221" sldId="274"/>
            <ac:spMk id="4" creationId="{2E22EC01-726B-4832-80D0-B649945B3AE0}"/>
          </ac:spMkLst>
        </pc:spChg>
        <pc:graphicFrameChg chg="add mod">
          <ac:chgData name="Josh Reiss" userId="a90d6cd88c30b6c6" providerId="LiveId" clId="{A5AC26C9-C301-46F8-972D-D0492D3E37E8}" dt="2021-04-29T11:10:35.929" v="687" actId="1076"/>
          <ac:graphicFrameMkLst>
            <pc:docMk/>
            <pc:sldMk cId="3272607221" sldId="274"/>
            <ac:graphicFrameMk id="7" creationId="{65F806ED-D8D5-420C-A653-523C4B6FD6E9}"/>
          </ac:graphicFrameMkLst>
        </pc:graphicFrameChg>
        <pc:graphicFrameChg chg="add mod">
          <ac:chgData name="Josh Reiss" userId="a90d6cd88c30b6c6" providerId="LiveId" clId="{A5AC26C9-C301-46F8-972D-D0492D3E37E8}" dt="2021-04-29T11:13:16.225" v="742" actId="1076"/>
          <ac:graphicFrameMkLst>
            <pc:docMk/>
            <pc:sldMk cId="3272607221" sldId="274"/>
            <ac:graphicFrameMk id="8" creationId="{4E5F3A80-EB3B-409A-AD11-8D082C864880}"/>
          </ac:graphicFrameMkLst>
        </pc:graphicFrameChg>
        <pc:picChg chg="del">
          <ac:chgData name="Josh Reiss" userId="a90d6cd88c30b6c6" providerId="LiveId" clId="{A5AC26C9-C301-46F8-972D-D0492D3E37E8}" dt="2021-04-29T11:10:26.578" v="684" actId="478"/>
          <ac:picMkLst>
            <pc:docMk/>
            <pc:sldMk cId="3272607221" sldId="274"/>
            <ac:picMk id="5" creationId="{6333B07C-BE4E-4D56-A5E1-954425DDF8AA}"/>
          </ac:picMkLst>
        </pc:picChg>
        <pc:picChg chg="del">
          <ac:chgData name="Josh Reiss" userId="a90d6cd88c30b6c6" providerId="LiveId" clId="{A5AC26C9-C301-46F8-972D-D0492D3E37E8}" dt="2021-04-29T11:10:26.578" v="684" actId="478"/>
          <ac:picMkLst>
            <pc:docMk/>
            <pc:sldMk cId="3272607221" sldId="274"/>
            <ac:picMk id="6" creationId="{C1040B31-4E53-41DE-B840-C105747510D1}"/>
          </ac:picMkLst>
        </pc:picChg>
      </pc:sldChg>
      <pc:sldChg chg="addSp delSp modSp new mod">
        <pc:chgData name="Josh Reiss" userId="a90d6cd88c30b6c6" providerId="LiveId" clId="{A5AC26C9-C301-46F8-972D-D0492D3E37E8}" dt="2021-04-29T11:21:08.054" v="981" actId="20577"/>
        <pc:sldMkLst>
          <pc:docMk/>
          <pc:sldMk cId="3040684723" sldId="275"/>
        </pc:sldMkLst>
        <pc:spChg chg="mod">
          <ac:chgData name="Josh Reiss" userId="a90d6cd88c30b6c6" providerId="LiveId" clId="{A5AC26C9-C301-46F8-972D-D0492D3E37E8}" dt="2021-04-29T11:14:33.426" v="760" actId="20577"/>
          <ac:spMkLst>
            <pc:docMk/>
            <pc:sldMk cId="3040684723" sldId="275"/>
            <ac:spMk id="2" creationId="{B2DBFEAE-3134-4EA2-B3BF-3C2DDBC07B65}"/>
          </ac:spMkLst>
        </pc:spChg>
        <pc:spChg chg="mod">
          <ac:chgData name="Josh Reiss" userId="a90d6cd88c30b6c6" providerId="LiveId" clId="{A5AC26C9-C301-46F8-972D-D0492D3E37E8}" dt="2021-04-29T11:21:08.054" v="981" actId="20577"/>
          <ac:spMkLst>
            <pc:docMk/>
            <pc:sldMk cId="3040684723" sldId="275"/>
            <ac:spMk id="3" creationId="{9F66ADF6-DD21-497B-95CF-C0D58D37F2A3}"/>
          </ac:spMkLst>
        </pc:spChg>
        <pc:picChg chg="add mod">
          <ac:chgData name="Josh Reiss" userId="a90d6cd88c30b6c6" providerId="LiveId" clId="{A5AC26C9-C301-46F8-972D-D0492D3E37E8}" dt="2021-04-29T11:16:50.522" v="840" actId="1076"/>
          <ac:picMkLst>
            <pc:docMk/>
            <pc:sldMk cId="3040684723" sldId="275"/>
            <ac:picMk id="5" creationId="{908026B7-72F2-47B8-895D-4903353857C7}"/>
          </ac:picMkLst>
        </pc:picChg>
        <pc:picChg chg="add del mod">
          <ac:chgData name="Josh Reiss" userId="a90d6cd88c30b6c6" providerId="LiveId" clId="{A5AC26C9-C301-46F8-972D-D0492D3E37E8}" dt="2021-04-29T11:16:40.463" v="838"/>
          <ac:picMkLst>
            <pc:docMk/>
            <pc:sldMk cId="3040684723" sldId="275"/>
            <ac:picMk id="3074" creationId="{DF5DC901-77D7-48C5-9966-A5FAF5A760D0}"/>
          </ac:picMkLst>
        </pc:picChg>
      </pc:sldChg>
      <pc:sldChg chg="new del">
        <pc:chgData name="Josh Reiss" userId="a90d6cd88c30b6c6" providerId="LiveId" clId="{A5AC26C9-C301-46F8-972D-D0492D3E37E8}" dt="2021-04-29T11:10:02.068" v="683" actId="680"/>
        <pc:sldMkLst>
          <pc:docMk/>
          <pc:sldMk cId="3525740208" sldId="275"/>
        </pc:sldMkLst>
      </pc:sldChg>
      <pc:sldChg chg="add del setBg">
        <pc:chgData name="Josh Reiss" userId="a90d6cd88c30b6c6" providerId="LiveId" clId="{A5AC26C9-C301-46F8-972D-D0492D3E37E8}" dt="2021-04-29T12:29:45.179" v="1123"/>
        <pc:sldMkLst>
          <pc:docMk/>
          <pc:sldMk cId="1289446616" sldId="276"/>
        </pc:sldMkLst>
      </pc:sldChg>
      <pc:sldChg chg="modSp add del mod">
        <pc:chgData name="Josh Reiss" userId="a90d6cd88c30b6c6" providerId="LiveId" clId="{A5AC26C9-C301-46F8-972D-D0492D3E37E8}" dt="2021-04-29T13:07:10.625" v="1246" actId="47"/>
        <pc:sldMkLst>
          <pc:docMk/>
          <pc:sldMk cId="1637240004" sldId="276"/>
        </pc:sldMkLst>
        <pc:spChg chg="mod">
          <ac:chgData name="Josh Reiss" userId="a90d6cd88c30b6c6" providerId="LiveId" clId="{A5AC26C9-C301-46F8-972D-D0492D3E37E8}" dt="2021-04-29T12:29:53.927" v="1131" actId="20577"/>
          <ac:spMkLst>
            <pc:docMk/>
            <pc:sldMk cId="1637240004" sldId="276"/>
            <ac:spMk id="2" creationId="{F0D3D1A6-1EA8-F741-BAA7-FF883020E51B}"/>
          </ac:spMkLst>
        </pc:spChg>
        <pc:spChg chg="mod">
          <ac:chgData name="Josh Reiss" userId="a90d6cd88c30b6c6" providerId="LiveId" clId="{A5AC26C9-C301-46F8-972D-D0492D3E37E8}" dt="2021-04-29T13:01:29.591" v="1215" actId="6549"/>
          <ac:spMkLst>
            <pc:docMk/>
            <pc:sldMk cId="1637240004" sldId="276"/>
            <ac:spMk id="3" creationId="{6806A786-B97F-7C42-B90F-DC4624EB6938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a90d6cd88c30b6c6/blog/thunder/References/Book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a90d6cd88c30b6c6/blog/thunder/References/Book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dealised N Wave - emitte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1!$M$1</c:f>
              <c:strCache>
                <c:ptCount val="1"/>
                <c:pt idx="0">
                  <c:v>WM Wave 90deg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Sheet1!$F$2:$F$103</c:f>
              <c:numCache>
                <c:formatCode>General</c:formatCode>
                <c:ptCount val="102"/>
                <c:pt idx="0">
                  <c:v>-0.02</c:v>
                </c:pt>
                <c:pt idx="1">
                  <c:v>-1.95E-2</c:v>
                </c:pt>
                <c:pt idx="2">
                  <c:v>-1.9E-2</c:v>
                </c:pt>
                <c:pt idx="3">
                  <c:v>-1.8499999999999999E-2</c:v>
                </c:pt>
                <c:pt idx="4">
                  <c:v>-1.7999999999999999E-2</c:v>
                </c:pt>
                <c:pt idx="5">
                  <c:v>-1.7500000000000002E-2</c:v>
                </c:pt>
                <c:pt idx="6">
                  <c:v>-1.7000000000000001E-2</c:v>
                </c:pt>
                <c:pt idx="7">
                  <c:v>-1.6500000000000001E-2</c:v>
                </c:pt>
                <c:pt idx="8">
                  <c:v>-1.6E-2</c:v>
                </c:pt>
                <c:pt idx="9">
                  <c:v>-1.55E-2</c:v>
                </c:pt>
                <c:pt idx="10">
                  <c:v>-1.4999999999999999E-2</c:v>
                </c:pt>
                <c:pt idx="11">
                  <c:v>-1.4500000000000001E-2</c:v>
                </c:pt>
                <c:pt idx="12">
                  <c:v>-1.4E-2</c:v>
                </c:pt>
                <c:pt idx="13">
                  <c:v>-1.35E-2</c:v>
                </c:pt>
                <c:pt idx="14">
                  <c:v>-1.2999999999999999E-2</c:v>
                </c:pt>
                <c:pt idx="15">
                  <c:v>-1.2500000000000001E-2</c:v>
                </c:pt>
                <c:pt idx="16">
                  <c:v>-1.2E-2</c:v>
                </c:pt>
                <c:pt idx="17">
                  <c:v>-1.15E-2</c:v>
                </c:pt>
                <c:pt idx="18">
                  <c:v>-1.0999999999999999E-2</c:v>
                </c:pt>
                <c:pt idx="19">
                  <c:v>-1.0500000000000001E-2</c:v>
                </c:pt>
                <c:pt idx="20">
                  <c:v>-0.01</c:v>
                </c:pt>
                <c:pt idx="21">
                  <c:v>-9.4999999999999998E-3</c:v>
                </c:pt>
                <c:pt idx="22">
                  <c:v>-8.9999999999999993E-3</c:v>
                </c:pt>
                <c:pt idx="23">
                  <c:v>-8.5000000000000006E-3</c:v>
                </c:pt>
                <c:pt idx="24">
                  <c:v>-8.0000000000000002E-3</c:v>
                </c:pt>
                <c:pt idx="25">
                  <c:v>-7.4999999999999997E-3</c:v>
                </c:pt>
                <c:pt idx="26">
                  <c:v>-7.0000000000000001E-3</c:v>
                </c:pt>
                <c:pt idx="27">
                  <c:v>-6.4999999999999997E-3</c:v>
                </c:pt>
                <c:pt idx="28">
                  <c:v>-6.0000000000000001E-3</c:v>
                </c:pt>
                <c:pt idx="29">
                  <c:v>-5.4999999999999997E-3</c:v>
                </c:pt>
                <c:pt idx="30">
                  <c:v>-5.0000000000000001E-3</c:v>
                </c:pt>
                <c:pt idx="31">
                  <c:v>-4.4999999999999997E-3</c:v>
                </c:pt>
                <c:pt idx="32">
                  <c:v>-4.0000000000000001E-3</c:v>
                </c:pt>
                <c:pt idx="33">
                  <c:v>-3.5000000000000001E-3</c:v>
                </c:pt>
                <c:pt idx="34">
                  <c:v>-3.0000000000000001E-3</c:v>
                </c:pt>
                <c:pt idx="35">
                  <c:v>-2.5000000000000001E-3</c:v>
                </c:pt>
                <c:pt idx="36">
                  <c:v>-2E-3</c:v>
                </c:pt>
                <c:pt idx="37">
                  <c:v>-1.5E-3</c:v>
                </c:pt>
                <c:pt idx="38">
                  <c:v>-1E-3</c:v>
                </c:pt>
                <c:pt idx="39">
                  <c:v>-5.0000000000000001E-4</c:v>
                </c:pt>
                <c:pt idx="40">
                  <c:v>0</c:v>
                </c:pt>
                <c:pt idx="41">
                  <c:v>5.0000000000000001E-4</c:v>
                </c:pt>
                <c:pt idx="42">
                  <c:v>1E-3</c:v>
                </c:pt>
                <c:pt idx="43">
                  <c:v>1.5E-3</c:v>
                </c:pt>
                <c:pt idx="44">
                  <c:v>2E-3</c:v>
                </c:pt>
                <c:pt idx="45">
                  <c:v>2.5000000000000001E-3</c:v>
                </c:pt>
                <c:pt idx="46">
                  <c:v>3.0000000000000001E-3</c:v>
                </c:pt>
                <c:pt idx="47">
                  <c:v>3.5000000000000001E-3</c:v>
                </c:pt>
                <c:pt idx="48">
                  <c:v>4.0000000000000001E-3</c:v>
                </c:pt>
                <c:pt idx="49">
                  <c:v>4.4999999999999997E-3</c:v>
                </c:pt>
                <c:pt idx="50">
                  <c:v>5.0000000000000001E-3</c:v>
                </c:pt>
                <c:pt idx="51">
                  <c:v>5.4999999999999997E-3</c:v>
                </c:pt>
                <c:pt idx="52">
                  <c:v>6.0000000000000001E-3</c:v>
                </c:pt>
                <c:pt idx="53">
                  <c:v>6.4999999999999997E-3</c:v>
                </c:pt>
                <c:pt idx="54">
                  <c:v>7.0000000000000001E-3</c:v>
                </c:pt>
                <c:pt idx="55">
                  <c:v>7.4999999999999997E-3</c:v>
                </c:pt>
                <c:pt idx="56">
                  <c:v>8.0000000000000002E-3</c:v>
                </c:pt>
                <c:pt idx="57">
                  <c:v>8.5000000000000006E-3</c:v>
                </c:pt>
                <c:pt idx="58">
                  <c:v>8.9999999999999993E-3</c:v>
                </c:pt>
                <c:pt idx="59">
                  <c:v>9.4999999999999998E-3</c:v>
                </c:pt>
                <c:pt idx="60">
                  <c:v>0.01</c:v>
                </c:pt>
                <c:pt idx="61">
                  <c:v>1.0500000000000001E-2</c:v>
                </c:pt>
                <c:pt idx="62">
                  <c:v>1.0999999999999999E-2</c:v>
                </c:pt>
                <c:pt idx="63">
                  <c:v>1.15E-2</c:v>
                </c:pt>
                <c:pt idx="64">
                  <c:v>1.2E-2</c:v>
                </c:pt>
                <c:pt idx="65">
                  <c:v>1.2500000000000001E-2</c:v>
                </c:pt>
                <c:pt idx="66">
                  <c:v>1.2999999999999999E-2</c:v>
                </c:pt>
                <c:pt idx="67">
                  <c:v>1.35E-2</c:v>
                </c:pt>
                <c:pt idx="68">
                  <c:v>1.4E-2</c:v>
                </c:pt>
                <c:pt idx="69">
                  <c:v>1.4500000000000001E-2</c:v>
                </c:pt>
                <c:pt idx="70">
                  <c:v>1.4999999999999999E-2</c:v>
                </c:pt>
                <c:pt idx="71">
                  <c:v>1.55E-2</c:v>
                </c:pt>
                <c:pt idx="72">
                  <c:v>1.6E-2</c:v>
                </c:pt>
                <c:pt idx="73">
                  <c:v>1.6500000000000001E-2</c:v>
                </c:pt>
                <c:pt idx="74">
                  <c:v>1.7000000000000001E-2</c:v>
                </c:pt>
                <c:pt idx="75">
                  <c:v>1.7500000000000002E-2</c:v>
                </c:pt>
                <c:pt idx="76">
                  <c:v>1.7999999999999999E-2</c:v>
                </c:pt>
                <c:pt idx="77">
                  <c:v>1.8499999999999999E-2</c:v>
                </c:pt>
                <c:pt idx="78">
                  <c:v>1.9E-2</c:v>
                </c:pt>
                <c:pt idx="79">
                  <c:v>1.95E-2</c:v>
                </c:pt>
              </c:numCache>
            </c:numRef>
          </c:xVal>
          <c:yVal>
            <c:numRef>
              <c:f>Sheet1!$M$2:$M$103</c:f>
              <c:numCache>
                <c:formatCode>General</c:formatCode>
                <c:ptCount val="10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3.4926332093462464E-2</c:v>
                </c:pt>
                <c:pt idx="31">
                  <c:v>6.4643342182788027E-2</c:v>
                </c:pt>
                <c:pt idx="32">
                  <c:v>5.7460748606922712E-2</c:v>
                </c:pt>
                <c:pt idx="33">
                  <c:v>5.027815503105737E-2</c:v>
                </c:pt>
                <c:pt idx="34">
                  <c:v>4.3095561455192E-2</c:v>
                </c:pt>
                <c:pt idx="35">
                  <c:v>3.5912967879326713E-2</c:v>
                </c:pt>
                <c:pt idx="36">
                  <c:v>2.8730374303461315E-2</c:v>
                </c:pt>
                <c:pt idx="37">
                  <c:v>2.1547780727596E-2</c:v>
                </c:pt>
                <c:pt idx="38">
                  <c:v>1.436518715173063E-2</c:v>
                </c:pt>
                <c:pt idx="39">
                  <c:v>7.1825935758653148E-3</c:v>
                </c:pt>
                <c:pt idx="40">
                  <c:v>0</c:v>
                </c:pt>
                <c:pt idx="41">
                  <c:v>-7.1825935758653148E-3</c:v>
                </c:pt>
                <c:pt idx="42">
                  <c:v>-1.436518715173063E-2</c:v>
                </c:pt>
                <c:pt idx="43">
                  <c:v>-2.1547780727596E-2</c:v>
                </c:pt>
                <c:pt idx="44">
                  <c:v>-2.8730374303461315E-2</c:v>
                </c:pt>
                <c:pt idx="45">
                  <c:v>-3.5912967879326713E-2</c:v>
                </c:pt>
                <c:pt idx="46">
                  <c:v>-4.3095561455192E-2</c:v>
                </c:pt>
                <c:pt idx="47">
                  <c:v>-5.027815503105737E-2</c:v>
                </c:pt>
                <c:pt idx="48">
                  <c:v>-5.7460748606922712E-2</c:v>
                </c:pt>
                <c:pt idx="49">
                  <c:v>-6.4643342182788027E-2</c:v>
                </c:pt>
                <c:pt idx="50">
                  <c:v>-3.4926332093462464E-2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80A-44ED-A4AB-083AE48858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2059064"/>
        <c:axId val="412057784"/>
      </c:scatterChart>
      <c:valAx>
        <c:axId val="4120590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2057784"/>
        <c:crosses val="autoZero"/>
        <c:crossBetween val="midCat"/>
      </c:valAx>
      <c:valAx>
        <c:axId val="412057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205906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WM Wave - reaches the listen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1!$J$1</c:f>
              <c:strCache>
                <c:ptCount val="1"/>
                <c:pt idx="0">
                  <c:v>WM Wave 90deg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Sheet1!$F$2:$F$81</c:f>
              <c:numCache>
                <c:formatCode>General</c:formatCode>
                <c:ptCount val="80"/>
                <c:pt idx="0">
                  <c:v>-0.02</c:v>
                </c:pt>
                <c:pt idx="1">
                  <c:v>-1.95E-2</c:v>
                </c:pt>
                <c:pt idx="2">
                  <c:v>-1.9E-2</c:v>
                </c:pt>
                <c:pt idx="3">
                  <c:v>-1.8499999999999999E-2</c:v>
                </c:pt>
                <c:pt idx="4">
                  <c:v>-1.7999999999999999E-2</c:v>
                </c:pt>
                <c:pt idx="5">
                  <c:v>-1.7500000000000002E-2</c:v>
                </c:pt>
                <c:pt idx="6">
                  <c:v>-1.7000000000000001E-2</c:v>
                </c:pt>
                <c:pt idx="7">
                  <c:v>-1.6500000000000001E-2</c:v>
                </c:pt>
                <c:pt idx="8">
                  <c:v>-1.6E-2</c:v>
                </c:pt>
                <c:pt idx="9">
                  <c:v>-1.55E-2</c:v>
                </c:pt>
                <c:pt idx="10">
                  <c:v>-1.4999999999999999E-2</c:v>
                </c:pt>
                <c:pt idx="11">
                  <c:v>-1.4500000000000001E-2</c:v>
                </c:pt>
                <c:pt idx="12">
                  <c:v>-1.4E-2</c:v>
                </c:pt>
                <c:pt idx="13">
                  <c:v>-1.35E-2</c:v>
                </c:pt>
                <c:pt idx="14">
                  <c:v>-1.2999999999999999E-2</c:v>
                </c:pt>
                <c:pt idx="15">
                  <c:v>-1.2500000000000001E-2</c:v>
                </c:pt>
                <c:pt idx="16">
                  <c:v>-1.2E-2</c:v>
                </c:pt>
                <c:pt idx="17">
                  <c:v>-1.15E-2</c:v>
                </c:pt>
                <c:pt idx="18">
                  <c:v>-1.0999999999999999E-2</c:v>
                </c:pt>
                <c:pt idx="19">
                  <c:v>-1.0500000000000001E-2</c:v>
                </c:pt>
                <c:pt idx="20">
                  <c:v>-0.01</c:v>
                </c:pt>
                <c:pt idx="21">
                  <c:v>-9.4999999999999998E-3</c:v>
                </c:pt>
                <c:pt idx="22">
                  <c:v>-8.9999999999999993E-3</c:v>
                </c:pt>
                <c:pt idx="23">
                  <c:v>-8.5000000000000006E-3</c:v>
                </c:pt>
                <c:pt idx="24">
                  <c:v>-8.0000000000000002E-3</c:v>
                </c:pt>
                <c:pt idx="25">
                  <c:v>-7.4999999999999997E-3</c:v>
                </c:pt>
                <c:pt idx="26">
                  <c:v>-7.0000000000000001E-3</c:v>
                </c:pt>
                <c:pt idx="27">
                  <c:v>-6.4999999999999997E-3</c:v>
                </c:pt>
                <c:pt idx="28">
                  <c:v>-6.0000000000000001E-3</c:v>
                </c:pt>
                <c:pt idx="29">
                  <c:v>-5.4999999999999997E-3</c:v>
                </c:pt>
                <c:pt idx="30">
                  <c:v>-5.0000000000000001E-3</c:v>
                </c:pt>
                <c:pt idx="31">
                  <c:v>-4.4999999999999997E-3</c:v>
                </c:pt>
                <c:pt idx="32">
                  <c:v>-4.0000000000000001E-3</c:v>
                </c:pt>
                <c:pt idx="33">
                  <c:v>-3.5000000000000001E-3</c:v>
                </c:pt>
                <c:pt idx="34">
                  <c:v>-3.0000000000000001E-3</c:v>
                </c:pt>
                <c:pt idx="35">
                  <c:v>-2.5000000000000001E-3</c:v>
                </c:pt>
                <c:pt idx="36">
                  <c:v>-2E-3</c:v>
                </c:pt>
                <c:pt idx="37">
                  <c:v>-1.5E-3</c:v>
                </c:pt>
                <c:pt idx="38">
                  <c:v>-1E-3</c:v>
                </c:pt>
                <c:pt idx="39">
                  <c:v>-5.0000000000000001E-4</c:v>
                </c:pt>
                <c:pt idx="40">
                  <c:v>0</c:v>
                </c:pt>
                <c:pt idx="41">
                  <c:v>5.0000000000000001E-4</c:v>
                </c:pt>
                <c:pt idx="42">
                  <c:v>1E-3</c:v>
                </c:pt>
                <c:pt idx="43">
                  <c:v>1.5E-3</c:v>
                </c:pt>
                <c:pt idx="44">
                  <c:v>2E-3</c:v>
                </c:pt>
                <c:pt idx="45">
                  <c:v>2.5000000000000001E-3</c:v>
                </c:pt>
                <c:pt idx="46">
                  <c:v>3.0000000000000001E-3</c:v>
                </c:pt>
                <c:pt idx="47">
                  <c:v>3.5000000000000001E-3</c:v>
                </c:pt>
                <c:pt idx="48">
                  <c:v>4.0000000000000001E-3</c:v>
                </c:pt>
                <c:pt idx="49">
                  <c:v>4.4999999999999997E-3</c:v>
                </c:pt>
                <c:pt idx="50">
                  <c:v>5.0000000000000001E-3</c:v>
                </c:pt>
                <c:pt idx="51">
                  <c:v>5.4999999999999997E-3</c:v>
                </c:pt>
                <c:pt idx="52">
                  <c:v>6.0000000000000001E-3</c:v>
                </c:pt>
                <c:pt idx="53">
                  <c:v>6.4999999999999997E-3</c:v>
                </c:pt>
                <c:pt idx="54">
                  <c:v>7.0000000000000001E-3</c:v>
                </c:pt>
                <c:pt idx="55">
                  <c:v>7.4999999999999997E-3</c:v>
                </c:pt>
                <c:pt idx="56">
                  <c:v>8.0000000000000002E-3</c:v>
                </c:pt>
                <c:pt idx="57">
                  <c:v>8.5000000000000006E-3</c:v>
                </c:pt>
                <c:pt idx="58">
                  <c:v>8.9999999999999993E-3</c:v>
                </c:pt>
                <c:pt idx="59">
                  <c:v>9.4999999999999998E-3</c:v>
                </c:pt>
                <c:pt idx="60">
                  <c:v>0.01</c:v>
                </c:pt>
                <c:pt idx="61">
                  <c:v>1.0500000000000001E-2</c:v>
                </c:pt>
                <c:pt idx="62">
                  <c:v>1.0999999999999999E-2</c:v>
                </c:pt>
                <c:pt idx="63">
                  <c:v>1.15E-2</c:v>
                </c:pt>
                <c:pt idx="64">
                  <c:v>1.2E-2</c:v>
                </c:pt>
                <c:pt idx="65">
                  <c:v>1.2500000000000001E-2</c:v>
                </c:pt>
                <c:pt idx="66">
                  <c:v>1.2999999999999999E-2</c:v>
                </c:pt>
                <c:pt idx="67">
                  <c:v>1.35E-2</c:v>
                </c:pt>
                <c:pt idx="68">
                  <c:v>1.4E-2</c:v>
                </c:pt>
                <c:pt idx="69">
                  <c:v>1.4500000000000001E-2</c:v>
                </c:pt>
                <c:pt idx="70">
                  <c:v>1.4999999999999999E-2</c:v>
                </c:pt>
                <c:pt idx="71">
                  <c:v>1.55E-2</c:v>
                </c:pt>
                <c:pt idx="72">
                  <c:v>1.6E-2</c:v>
                </c:pt>
                <c:pt idx="73">
                  <c:v>1.6500000000000001E-2</c:v>
                </c:pt>
                <c:pt idx="74">
                  <c:v>1.7000000000000001E-2</c:v>
                </c:pt>
                <c:pt idx="75">
                  <c:v>1.7500000000000002E-2</c:v>
                </c:pt>
                <c:pt idx="76">
                  <c:v>1.7999999999999999E-2</c:v>
                </c:pt>
                <c:pt idx="77">
                  <c:v>1.8499999999999999E-2</c:v>
                </c:pt>
                <c:pt idx="78">
                  <c:v>1.9E-2</c:v>
                </c:pt>
                <c:pt idx="79">
                  <c:v>1.95E-2</c:v>
                </c:pt>
              </c:numCache>
            </c:numRef>
          </c:xVal>
          <c:yVal>
            <c:numRef>
              <c:f>Sheet1!$J$2:$J$81</c:f>
              <c:numCache>
                <c:formatCode>General</c:formatCode>
                <c:ptCount val="8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3.1410527777777919E-2</c:v>
                </c:pt>
                <c:pt idx="14">
                  <c:v>9.0282666666666705E-2</c:v>
                </c:pt>
                <c:pt idx="15">
                  <c:v>0.14261874999999979</c:v>
                </c:pt>
                <c:pt idx="16">
                  <c:v>0.18841877777777785</c:v>
                </c:pt>
                <c:pt idx="17">
                  <c:v>0.22768275000000002</c:v>
                </c:pt>
                <c:pt idx="18">
                  <c:v>0.26041066666666679</c:v>
                </c:pt>
                <c:pt idx="19">
                  <c:v>0.28660252777777773</c:v>
                </c:pt>
                <c:pt idx="20">
                  <c:v>0.30625833333333335</c:v>
                </c:pt>
                <c:pt idx="21">
                  <c:v>0.31937808333333334</c:v>
                </c:pt>
                <c:pt idx="22">
                  <c:v>0.32596177777777779</c:v>
                </c:pt>
                <c:pt idx="23">
                  <c:v>0.32600941666666666</c:v>
                </c:pt>
                <c:pt idx="24">
                  <c:v>0.319521</c:v>
                </c:pt>
                <c:pt idx="25">
                  <c:v>0.30649652777777775</c:v>
                </c:pt>
                <c:pt idx="26">
                  <c:v>0.28693600000000002</c:v>
                </c:pt>
                <c:pt idx="27">
                  <c:v>0.26083941666666666</c:v>
                </c:pt>
                <c:pt idx="28">
                  <c:v>0.22820677777777776</c:v>
                </c:pt>
                <c:pt idx="29">
                  <c:v>0.18903808333333327</c:v>
                </c:pt>
                <c:pt idx="30">
                  <c:v>0.14333333333333331</c:v>
                </c:pt>
                <c:pt idx="31">
                  <c:v>9.1092527777777738E-2</c:v>
                </c:pt>
                <c:pt idx="32">
                  <c:v>3.2315666666666687E-2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-3.2315666666666687E-2</c:v>
                </c:pt>
                <c:pt idx="49">
                  <c:v>-9.1092527777777738E-2</c:v>
                </c:pt>
                <c:pt idx="50">
                  <c:v>-0.14333333333333331</c:v>
                </c:pt>
                <c:pt idx="51">
                  <c:v>-0.18903808333333327</c:v>
                </c:pt>
                <c:pt idx="52">
                  <c:v>-0.22820677777777776</c:v>
                </c:pt>
                <c:pt idx="53">
                  <c:v>-0.26083941666666666</c:v>
                </c:pt>
                <c:pt idx="54">
                  <c:v>-0.28693600000000002</c:v>
                </c:pt>
                <c:pt idx="55">
                  <c:v>-0.30649652777777775</c:v>
                </c:pt>
                <c:pt idx="56">
                  <c:v>-0.319521</c:v>
                </c:pt>
                <c:pt idx="57">
                  <c:v>-0.32600941666666666</c:v>
                </c:pt>
                <c:pt idx="58">
                  <c:v>-0.32596177777777779</c:v>
                </c:pt>
                <c:pt idx="59">
                  <c:v>-0.31937808333333334</c:v>
                </c:pt>
                <c:pt idx="60">
                  <c:v>-0.30625833333333335</c:v>
                </c:pt>
                <c:pt idx="61">
                  <c:v>-0.28660252777777773</c:v>
                </c:pt>
                <c:pt idx="62">
                  <c:v>-0.26041066666666679</c:v>
                </c:pt>
                <c:pt idx="63">
                  <c:v>-0.22768275000000002</c:v>
                </c:pt>
                <c:pt idx="64">
                  <c:v>-0.18841877777777785</c:v>
                </c:pt>
                <c:pt idx="65">
                  <c:v>-0.14261874999999979</c:v>
                </c:pt>
                <c:pt idx="66">
                  <c:v>-9.0282666666666705E-2</c:v>
                </c:pt>
                <c:pt idx="67">
                  <c:v>-3.1410527777777919E-2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0AD-4A5F-A0D1-326C2432B5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46838352"/>
        <c:axId val="646841232"/>
      </c:scatterChart>
      <c:valAx>
        <c:axId val="6468383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841232"/>
        <c:crosses val="autoZero"/>
        <c:crossBetween val="midCat"/>
      </c:valAx>
      <c:valAx>
        <c:axId val="64684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8383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06B8C5A-A014-A144-BD35-A2E3BE25A61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BE3673-11F5-614B-997B-8CB6EECFBA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49533CD-50CE-8146-B9C7-081F6E705661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3C8B28F-9AF2-124C-9AF5-4944E647310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A33BDB8-D054-CF4B-9373-2E4EC557C4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22F21E-44AB-4444-BE40-E384DD43BF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607A2D-A8E7-FD40-A9AA-EF6C509817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756D3902-D5B2-AA4C-A961-9618F83112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Slide Image Placeholder 1">
            <a:extLst>
              <a:ext uri="{FF2B5EF4-FFF2-40B4-BE49-F238E27FC236}">
                <a16:creationId xmlns:a16="http://schemas.microsoft.com/office/drawing/2014/main" id="{2FA8A29A-FBAC-AC40-AEB6-C6DB023544F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8" name="Notes Placeholder 2">
            <a:extLst>
              <a:ext uri="{FF2B5EF4-FFF2-40B4-BE49-F238E27FC236}">
                <a16:creationId xmlns:a16="http://schemas.microsoft.com/office/drawing/2014/main" id="{FF52E42C-3BD3-7B45-889B-896E95AF8DF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/>
          </a:p>
        </p:txBody>
      </p:sp>
      <p:sp>
        <p:nvSpPr>
          <p:cNvPr id="4099" name="Slide Number Placeholder 3">
            <a:extLst>
              <a:ext uri="{FF2B5EF4-FFF2-40B4-BE49-F238E27FC236}">
                <a16:creationId xmlns:a16="http://schemas.microsoft.com/office/drawing/2014/main" id="{E4D814EB-18F8-644D-B184-FE55F8719F3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719D2A7-B61F-C843-AA5B-8C0C5168BBA1}" type="slidenum">
              <a:rPr lang="en-US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499A06-4C7D-B543-AE19-557A8B1E06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EF2916-5EB1-DC46-A4CA-73215D4D50CB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AD8D88-BD62-2E43-A0DD-7723F170CD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7A9B4C-216E-A944-B5FB-D1694C8C3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F21529-8B43-7243-BAAB-9802A35EA0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959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A23516-C223-3448-A790-107D0323D54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69ACCA-E4F9-FE49-A49C-2A8111D4D2A8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B0774D-2B89-834E-B30B-43AD9B54FD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1E027A-D830-434A-BEA4-26467C1F0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3753C6-788D-A640-8A83-2DDC0196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773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A13ED9-F525-2543-8664-A97CDCF6BA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CF2703-576A-114E-8971-95BFBB16FE16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2409DE-75FF-A943-9A09-C9827854F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C19BB2-4FBB-344A-BB78-572B9673F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72C59-AE37-1643-850D-BFBEC7EF13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437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7836F3-CB16-3C43-865F-C8CF1708FD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AD80FC-1219-E548-8B15-EE38EFBC5F5D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5D1D48-749A-C04E-82F2-236FD3318A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9DFAC4-C62F-014D-9254-BEDCE4864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8E277A-A712-0047-B947-0B14B22B4C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3740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5BFD3E-C701-1846-A70E-EEB5F407B9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192768-BDF4-9A44-95B2-9769B5C17DC9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8D7F1A-59CD-3A42-8602-EECEF06FC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1F7BD3-F957-1A40-A5D8-6CE8EAB56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026051-4E5E-5148-828C-4C7576F972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860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D829C9A-8670-6C4B-8AD0-782B5E98A4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6D1B07-739C-4147-9BA1-85E55A4BF5B7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80A8CD-2777-F240-9EB7-E09A2EF67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CD2BB3C-A11D-DA40-AFE5-CFAA9727E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47AE71-4767-A844-9DC1-1D4A2EDF558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720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4F83292-7760-DB42-89DB-449E2F9588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C486C7-FA7B-4045-87FA-F103792B57D5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031AC0F-A62D-B147-9B3B-1D59FF390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16C160-EC19-874F-A20B-817A84DD4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420B77-F766-F84C-8FD7-41223544B7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4457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589FEB9-08BD-AF43-AA41-DE6A0251454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DB82A7-E663-E544-AACB-E2B609DE7637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1EBDEC4-98B1-7E4C-B3A7-5C5650A0D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FB19478-562C-FA4A-8F64-BEBAB493C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C504A7-7B0F-984B-A312-674A10DC36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5810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4962ED0-FBB9-E34D-8E6A-9C16E4DF0C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3D6523-A61F-7143-B04A-987571A77EC8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BA74328-0B62-AA4E-9B54-25F7F906E3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0F5E8B3-6FCE-E04C-98B8-C76F0F616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4768CD-AEDC-B446-9AFF-3DEB061E131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0576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BEB4476-6547-F847-BA09-73DBD13B4E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751AB1-57EA-C448-BA6F-736B374615E0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5B3F47B-05B8-8144-9408-A0446F43B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0EA8079-E481-7844-B8AE-31A780B83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2953A3-F131-9742-9653-980CBC9F4D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634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5C4F248-A4ED-DF4A-A70E-75C8FB1CD5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A8492E-BFC7-1747-86CF-E1404842B536}" type="datetimeFigureOut">
              <a:rPr lang="en-US"/>
              <a:pPr>
                <a:defRPr/>
              </a:pPr>
              <a:t>4/29/2021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3117FA7-2BF0-F34D-8F42-2450BC975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AF943AD-E77E-7948-BF95-F0096E9FE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45559C-D742-834F-A3C7-C9A4AA38F5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654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4">
            <a:extLst>
              <a:ext uri="{FF2B5EF4-FFF2-40B4-BE49-F238E27FC236}">
                <a16:creationId xmlns:a16="http://schemas.microsoft.com/office/drawing/2014/main" id="{7524FEBA-2EF4-E34F-A625-1AB892A857D3}"/>
              </a:ext>
            </a:extLst>
          </p:cNvPr>
          <p:cNvSpPr/>
          <p:nvPr userDrawn="1"/>
        </p:nvSpPr>
        <p:spPr>
          <a:xfrm flipV="1">
            <a:off x="0" y="5938838"/>
            <a:ext cx="12201525" cy="91916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050" name="Title Placeholder 1">
            <a:extLst>
              <a:ext uri="{FF2B5EF4-FFF2-40B4-BE49-F238E27FC236}">
                <a16:creationId xmlns:a16="http://schemas.microsoft.com/office/drawing/2014/main" id="{9CF2D0BB-C80C-9646-B110-2EF756E47DF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9287" y="125022"/>
            <a:ext cx="11273425" cy="1049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7DB5B1F8-BE1D-AD4A-A28D-794A03659A8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9287" y="1174360"/>
            <a:ext cx="11273425" cy="4932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F20B5E-4F1D-C343-A00E-81846A1F6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94206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5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blog.kaistale.com/wp-content/uploads/2014/08/BRODE.png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>
            <a:extLst>
              <a:ext uri="{FF2B5EF4-FFF2-40B4-BE49-F238E27FC236}">
                <a16:creationId xmlns:a16="http://schemas.microsoft.com/office/drawing/2014/main" id="{9EBDC17C-26D3-E14F-A320-DA3D038F10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1026" name="Object 3" hidden="1">
                        <a:extLst>
                          <a:ext uri="{FF2B5EF4-FFF2-40B4-BE49-F238E27FC236}">
                            <a16:creationId xmlns:a16="http://schemas.microsoft.com/office/drawing/2014/main" id="{9EBDC17C-26D3-E14F-A320-DA3D038F108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Slide Number Placeholder 41">
            <a:extLst>
              <a:ext uri="{FF2B5EF4-FFF2-40B4-BE49-F238E27FC236}">
                <a16:creationId xmlns:a16="http://schemas.microsoft.com/office/drawing/2014/main" id="{722A8672-237E-154E-AB1B-3B8F8EF60F6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11658600" y="6369050"/>
            <a:ext cx="366713" cy="2778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1FF6A4C8-8D49-864F-BB56-FC3909A9F7A0}" type="slidenum">
              <a:rPr lang="en-US" altLang="en-US" sz="1200">
                <a:solidFill>
                  <a:schemeClr val="bg1"/>
                </a:solidFill>
              </a:rPr>
              <a:pPr algn="ctr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</a:t>
            </a:fld>
            <a:endParaRPr lang="en-US" altLang="en-US" sz="1200">
              <a:solidFill>
                <a:schemeClr val="bg1"/>
              </a:solidFill>
            </a:endParaRP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FDCC6CC3-A222-C941-BA0B-A4E17A7DC3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EF625B-EF8B-4FAE-802D-FE266B2379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stening t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F42448-AD60-4714-9FEB-209123798B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3571" y="1174360"/>
            <a:ext cx="11439141" cy="4932754"/>
          </a:xfrm>
        </p:spPr>
        <p:txBody>
          <a:bodyPr anchor="t"/>
          <a:lstStyle/>
          <a:p>
            <a:pPr>
              <a:lnSpc>
                <a:spcPct val="100000"/>
              </a:lnSpc>
            </a:pPr>
            <a:r>
              <a:rPr lang="en-GB" sz="2700" dirty="0" err="1"/>
              <a:t>Multistimulus</a:t>
            </a:r>
            <a:r>
              <a:rPr lang="en-GB" sz="2700" dirty="0"/>
              <a:t> paradigm used to present user with continuous scale</a:t>
            </a:r>
          </a:p>
          <a:p>
            <a:pPr lvl="1">
              <a:lnSpc>
                <a:spcPct val="100000"/>
              </a:lnSpc>
            </a:pPr>
            <a:r>
              <a:rPr lang="en-GB" dirty="0"/>
              <a:t>Very unrealistic - Quite unrealistic - Quite realistic - Very realistic</a:t>
            </a:r>
          </a:p>
          <a:p>
            <a:pPr>
              <a:lnSpc>
                <a:spcPct val="100000"/>
              </a:lnSpc>
            </a:pPr>
            <a:r>
              <a:rPr lang="en-GB" sz="2700" dirty="0"/>
              <a:t>Samples from 5 synthesis techniques &amp; recorded thunder sample from BBC sound effects archive</a:t>
            </a:r>
          </a:p>
          <a:p>
            <a:pPr>
              <a:lnSpc>
                <a:spcPct val="100000"/>
              </a:lnSpc>
            </a:pPr>
            <a:r>
              <a:rPr lang="en-GB" sz="2700" dirty="0"/>
              <a:t>All samples set to same loudness &amp; 44.1 kHz sample rate</a:t>
            </a:r>
          </a:p>
          <a:p>
            <a:pPr>
              <a:lnSpc>
                <a:spcPct val="100000"/>
              </a:lnSpc>
            </a:pPr>
            <a:r>
              <a:rPr lang="en-GB" sz="2700" dirty="0"/>
              <a:t>51 people, all experienced with audio, rated samples in terms of realism</a:t>
            </a:r>
          </a:p>
          <a:p>
            <a:pPr lvl="1">
              <a:lnSpc>
                <a:spcPct val="100000"/>
              </a:lnSpc>
            </a:pPr>
            <a:r>
              <a:rPr lang="en-GB" dirty="0"/>
              <a:t>Samples can be played and dragged across the scale to rate them</a:t>
            </a:r>
          </a:p>
          <a:p>
            <a:pPr>
              <a:lnSpc>
                <a:spcPct val="100000"/>
              </a:lnSpc>
            </a:pPr>
            <a:r>
              <a:rPr lang="en-GB" sz="2700" dirty="0"/>
              <a:t>Participants did test remotely during Coronavirus lockdown, so under varying listening conditions</a:t>
            </a:r>
          </a:p>
        </p:txBody>
      </p:sp>
    </p:spTree>
    <p:extLst>
      <p:ext uri="{BB962C8B-B14F-4D97-AF65-F5344CB8AC3E}">
        <p14:creationId xmlns:p14="http://schemas.microsoft.com/office/powerpoint/2010/main" val="31796804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35083-4AE7-3E4F-924E-60D323E8A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pic>
        <p:nvPicPr>
          <p:cNvPr id="5" name="Content Placeholder 4" descr="Chart, bar chart&#10;&#10;Description automatically generated">
            <a:extLst>
              <a:ext uri="{FF2B5EF4-FFF2-40B4-BE49-F238E27FC236}">
                <a16:creationId xmlns:a16="http://schemas.microsoft.com/office/drawing/2014/main" id="{039F27E7-379D-429E-AA5A-AAD970CCA1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30445" y="1222993"/>
            <a:ext cx="7772334" cy="466904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7F768EC-9740-47E5-AD07-68396457EA18}"/>
              </a:ext>
            </a:extLst>
          </p:cNvPr>
          <p:cNvSpPr txBox="1"/>
          <p:nvPr/>
        </p:nvSpPr>
        <p:spPr>
          <a:xfrm>
            <a:off x="3419374" y="4967876"/>
            <a:ext cx="661014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dirty="0"/>
              <a:t>Recording      Blanco      Selfridge       Farnell         Brooks          </a:t>
            </a:r>
            <a:r>
              <a:rPr lang="en-GB" dirty="0" err="1"/>
              <a:t>Saksel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115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35083-4AE7-3E4F-924E-60D323E8A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E45612-6423-2649-8292-FE1D0681EB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287" y="1174360"/>
            <a:ext cx="11381963" cy="4215546"/>
          </a:xfrm>
        </p:spPr>
        <p:txBody>
          <a:bodyPr/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GB" sz="3200" dirty="0"/>
              <a:t>Results showed that none of the models were close to the recording in terms of realism</a:t>
            </a:r>
          </a:p>
          <a:p>
            <a:pPr lvl="1">
              <a:lnSpc>
                <a:spcPct val="110000"/>
              </a:lnSpc>
              <a:spcBef>
                <a:spcPts val="1200"/>
              </a:spcBef>
            </a:pPr>
            <a:r>
              <a:rPr lang="en-GB" sz="2800" dirty="0"/>
              <a:t>signal-based models slightly outperformed the physical models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GB" sz="3200" dirty="0"/>
              <a:t>highlights need for comparative perceptual evaluation in sound synthesis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GB" sz="3200" dirty="0"/>
              <a:t>identifies limitations of current thunder simulation approaches</a:t>
            </a:r>
          </a:p>
        </p:txBody>
      </p:sp>
    </p:spTree>
    <p:extLst>
      <p:ext uri="{BB962C8B-B14F-4D97-AF65-F5344CB8AC3E}">
        <p14:creationId xmlns:p14="http://schemas.microsoft.com/office/powerpoint/2010/main" val="4803123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D3D1A6-1EA8-F741-BAA7-FF883020E5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Future work – the ultimate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06A786-B97F-7C42-B90F-DC4624EB6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2488" y="1174359"/>
            <a:ext cx="9817285" cy="4600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ine </a:t>
            </a:r>
            <a:r>
              <a:rPr lang="en-GB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st features of existing approaches</a:t>
            </a:r>
          </a:p>
          <a:p>
            <a:pPr lvl="1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clude electrical discharges within cloud, branches off the main branch</a:t>
            </a:r>
            <a:endParaRPr lang="en-GB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1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e accurately represent the N-wave</a:t>
            </a:r>
          </a:p>
          <a:p>
            <a:pPr lvl="1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resent geometry in 3D</a:t>
            </a:r>
            <a:endParaRPr lang="en-GB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1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tance attenuation should be frequency dependent</a:t>
            </a:r>
            <a:endParaRPr lang="en-GB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1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clude natural reverberation of an outdoor environment</a:t>
            </a:r>
            <a:endParaRPr lang="en-GB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ereo panning or HRTF to position sounds correctly around listener</a:t>
            </a:r>
            <a:endParaRPr lang="en-GB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ke real-time</a:t>
            </a:r>
            <a:endParaRPr lang="en-GB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1"/>
            <a:r>
              <a:rPr lang="en-GB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utation isn’t the issue</a:t>
            </a:r>
            <a:endParaRPr lang="en-US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68117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What Are the Different Types of Lightning?">
            <a:extLst>
              <a:ext uri="{FF2B5EF4-FFF2-40B4-BE49-F238E27FC236}">
                <a16:creationId xmlns:a16="http://schemas.microsoft.com/office/drawing/2014/main" id="{74005BB3-CB6B-4C27-97C3-A6F4751E77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15AF617-8259-4EF2-9985-C98DC7FC64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8422" y="498764"/>
            <a:ext cx="5982629" cy="3227853"/>
          </a:xfrm>
        </p:spPr>
        <p:txBody>
          <a:bodyPr anchor="b">
            <a:normAutofit/>
          </a:bodyPr>
          <a:lstStyle/>
          <a:p>
            <a:pPr algn="l"/>
            <a:r>
              <a:rPr lang="en-GB" sz="4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 comparative perceptual evaluation of thunder synthesis technique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0441F1F-006A-48FD-9967-4A433803A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169" y="4735323"/>
            <a:ext cx="4023359" cy="1208141"/>
          </a:xfrm>
        </p:spPr>
        <p:txBody>
          <a:bodyPr>
            <a:normAutofit/>
          </a:bodyPr>
          <a:lstStyle/>
          <a:p>
            <a:pPr algn="l"/>
            <a:r>
              <a:rPr lang="en-GB" dirty="0"/>
              <a:t>Josh Reiss, Hazar Tez and Rod Selfridge</a:t>
            </a:r>
            <a:endParaRPr lang="en-GB" sz="2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088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35083-4AE7-3E4F-924E-60D323E8A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under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E45612-6423-2649-8292-FE1D0681EB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287" y="1174360"/>
            <a:ext cx="11381963" cy="4215546"/>
          </a:xfrm>
        </p:spPr>
        <p:txBody>
          <a:bodyPr/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GB" sz="3200" dirty="0"/>
              <a:t>Widely used in game, film and virtual reality sound design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GB" sz="3200" dirty="0"/>
              <a:t>Simulation also aids understanding of the underlying physics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GB" sz="3200" dirty="0"/>
              <a:t>Many models of thunder proposed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GB" sz="3200" dirty="0"/>
              <a:t>But no formal perceptual evaluation… yet</a:t>
            </a:r>
          </a:p>
        </p:txBody>
      </p:sp>
    </p:spTree>
    <p:extLst>
      <p:ext uri="{BB962C8B-B14F-4D97-AF65-F5344CB8AC3E}">
        <p14:creationId xmlns:p14="http://schemas.microsoft.com/office/powerpoint/2010/main" val="38426229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613D19-DEC4-4DBD-977F-A38740375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hysics of thun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7833BA-620E-4D4C-8C89-205D234F03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r>
              <a:rPr lang="en-GB" dirty="0"/>
              <a:t>Lightning</a:t>
            </a:r>
          </a:p>
          <a:p>
            <a:pPr lvl="1"/>
            <a:r>
              <a:rPr lang="en-GB" dirty="0"/>
              <a:t>short duration, high voltage electrical discharge between a cloud and ground</a:t>
            </a:r>
          </a:p>
          <a:p>
            <a:pPr lvl="1"/>
            <a:r>
              <a:rPr lang="en-GB" dirty="0" err="1"/>
              <a:t>consista</a:t>
            </a:r>
            <a:r>
              <a:rPr lang="en-GB" dirty="0"/>
              <a:t> of segments, </a:t>
            </a:r>
            <a:r>
              <a:rPr lang="en-GB" i="1" dirty="0"/>
              <a:t>tortuosity of the lightning channel</a:t>
            </a:r>
            <a:r>
              <a:rPr lang="en-GB" dirty="0"/>
              <a:t>, ~ 5 to 70 meters long</a:t>
            </a:r>
          </a:p>
          <a:p>
            <a:r>
              <a:rPr lang="en-GB" dirty="0"/>
              <a:t>When discharge happens, shock wave expands at roughly 3000 m/s </a:t>
            </a:r>
          </a:p>
          <a:p>
            <a:r>
              <a:rPr lang="en-GB" dirty="0"/>
              <a:t>shock wave leaves behind weak shock wave caused by rapidly heating air in the lightning channel, the </a:t>
            </a:r>
            <a:r>
              <a:rPr lang="en-GB" i="1" dirty="0"/>
              <a:t>thunder clap</a:t>
            </a:r>
          </a:p>
          <a:p>
            <a:r>
              <a:rPr lang="en-GB" dirty="0"/>
              <a:t>Also hear </a:t>
            </a:r>
            <a:r>
              <a:rPr lang="en-GB" i="1" dirty="0"/>
              <a:t>thunder rumble</a:t>
            </a:r>
            <a:r>
              <a:rPr lang="en-GB" dirty="0"/>
              <a:t>, often for many seconds, as well as </a:t>
            </a:r>
            <a:r>
              <a:rPr lang="en-GB" i="1" dirty="0"/>
              <a:t>multiple strikes</a:t>
            </a:r>
          </a:p>
          <a:p>
            <a:pPr lvl="1"/>
            <a:r>
              <a:rPr lang="en-GB" dirty="0"/>
              <a:t>Relates to tortuosity, reflections, sound dissipation through air</a:t>
            </a:r>
          </a:p>
        </p:txBody>
      </p:sp>
    </p:spTree>
    <p:extLst>
      <p:ext uri="{BB962C8B-B14F-4D97-AF65-F5344CB8AC3E}">
        <p14:creationId xmlns:p14="http://schemas.microsoft.com/office/powerpoint/2010/main" val="2069987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17FD1-9A91-4663-A975-AC0CD92A0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eling</a:t>
            </a:r>
            <a:r>
              <a:rPr lang="en-GB" dirty="0"/>
              <a:t> – Huygens princi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F4525B-419D-4B99-8BA2-98723BC76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288" y="5057776"/>
            <a:ext cx="3588136" cy="1049338"/>
          </a:xfrm>
        </p:spPr>
        <p:txBody>
          <a:bodyPr/>
          <a:lstStyle/>
          <a:p>
            <a:r>
              <a:rPr lang="en-GB" dirty="0" err="1"/>
              <a:t>Brode</a:t>
            </a:r>
            <a:r>
              <a:rPr lang="en-GB" dirty="0"/>
              <a:t> pulse</a:t>
            </a:r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6333B07C-BE4E-4D56-A5E1-954425DDF8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7129" y="1489449"/>
            <a:ext cx="3913462" cy="3655254"/>
          </a:xfrm>
          <a:prstGeom prst="rect">
            <a:avLst/>
          </a:prstGeom>
        </p:spPr>
      </p:pic>
      <p:pic>
        <p:nvPicPr>
          <p:cNvPr id="6" name="Picture 5" descr="Weak shock wave [Brode, 1955]">
            <a:hlinkClick r:id="rId3"/>
            <a:extLst>
              <a:ext uri="{FF2B5EF4-FFF2-40B4-BE49-F238E27FC236}">
                <a16:creationId xmlns:a16="http://schemas.microsoft.com/office/drawing/2014/main" id="{C1040B31-4E53-41DE-B840-C105747510D1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36" y="2455795"/>
            <a:ext cx="3151605" cy="21210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968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17FD1-9A91-4663-A975-AC0CD92A0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eling</a:t>
            </a:r>
            <a:r>
              <a:rPr lang="en-GB" dirty="0"/>
              <a:t> – WM Wav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22EC01-726B-4832-80D0-B649945B3A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287" y="4230302"/>
            <a:ext cx="11273425" cy="1876811"/>
          </a:xfrm>
        </p:spPr>
        <p:txBody>
          <a:bodyPr/>
          <a:lstStyle/>
          <a:p>
            <a:r>
              <a:rPr lang="en-GB" dirty="0"/>
              <a:t>Only the kinks where line segments intersect matter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5F806ED-D8D5-420C-A653-523C4B6FD6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4212588"/>
              </p:ext>
            </p:extLst>
          </p:nvPr>
        </p:nvGraphicFramePr>
        <p:xfrm>
          <a:off x="518160" y="169164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E5F3A80-EB3B-409A-AD11-8D082C8648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2943040"/>
              </p:ext>
            </p:extLst>
          </p:nvPr>
        </p:nvGraphicFramePr>
        <p:xfrm>
          <a:off x="5364480" y="169164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726072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DBFEAE-3134-4EA2-B3BF-3C2DDBC07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ther aspe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66ADF6-DD21-497B-95CF-C0D58D37F2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Lightning</a:t>
            </a:r>
          </a:p>
          <a:p>
            <a:pPr lvl="1"/>
            <a:r>
              <a:rPr lang="en-GB" dirty="0"/>
              <a:t>Branching</a:t>
            </a:r>
          </a:p>
          <a:p>
            <a:pPr lvl="1"/>
            <a:r>
              <a:rPr lang="en-GB" dirty="0"/>
              <a:t>In-cloud lightning ‘the halo’</a:t>
            </a:r>
          </a:p>
          <a:p>
            <a:r>
              <a:rPr lang="en-GB" dirty="0" err="1"/>
              <a:t>Multistrike</a:t>
            </a:r>
            <a:endParaRPr lang="en-GB" dirty="0"/>
          </a:p>
          <a:p>
            <a:r>
              <a:rPr lang="en-GB" dirty="0"/>
              <a:t>Distance attenuation</a:t>
            </a:r>
          </a:p>
          <a:p>
            <a:r>
              <a:rPr lang="en-GB" dirty="0"/>
              <a:t>Filtering through air</a:t>
            </a:r>
          </a:p>
          <a:p>
            <a:r>
              <a:rPr lang="en-GB" dirty="0"/>
              <a:t>Reflections</a:t>
            </a:r>
          </a:p>
          <a:p>
            <a:r>
              <a:rPr lang="en-GB" dirty="0"/>
              <a:t>Spatial rendering</a:t>
            </a:r>
          </a:p>
        </p:txBody>
      </p:sp>
      <p:pic>
        <p:nvPicPr>
          <p:cNvPr id="5" name="Picture 2" descr="Data from the International Space Station confirms: Lightning is insane |  Ars Technica">
            <a:extLst>
              <a:ext uri="{FF2B5EF4-FFF2-40B4-BE49-F238E27FC236}">
                <a16:creationId xmlns:a16="http://schemas.microsoft.com/office/drawing/2014/main" id="{908026B7-72F2-47B8-895D-4903353857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7532" y="1645919"/>
            <a:ext cx="5767291" cy="3878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0684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C916C0-76F6-477D-8548-E95BD5CB8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333F0C-AD02-41D7-BFBB-D95129AE45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A3CEB7A-9576-46BA-B344-6711BD2B5D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8155903"/>
              </p:ext>
            </p:extLst>
          </p:nvPr>
        </p:nvGraphicFramePr>
        <p:xfrm>
          <a:off x="709055" y="1699079"/>
          <a:ext cx="10663242" cy="32734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7584">
                  <a:extLst>
                    <a:ext uri="{9D8B030D-6E8A-4147-A177-3AD203B41FA5}">
                      <a16:colId xmlns:a16="http://schemas.microsoft.com/office/drawing/2014/main" val="4198252072"/>
                    </a:ext>
                  </a:extLst>
                </a:gridCol>
                <a:gridCol w="1712698">
                  <a:extLst>
                    <a:ext uri="{9D8B030D-6E8A-4147-A177-3AD203B41FA5}">
                      <a16:colId xmlns:a16="http://schemas.microsoft.com/office/drawing/2014/main" val="1169326488"/>
                    </a:ext>
                  </a:extLst>
                </a:gridCol>
                <a:gridCol w="1801051">
                  <a:extLst>
                    <a:ext uri="{9D8B030D-6E8A-4147-A177-3AD203B41FA5}">
                      <a16:colId xmlns:a16="http://schemas.microsoft.com/office/drawing/2014/main" val="706026016"/>
                    </a:ext>
                  </a:extLst>
                </a:gridCol>
                <a:gridCol w="1547124">
                  <a:extLst>
                    <a:ext uri="{9D8B030D-6E8A-4147-A177-3AD203B41FA5}">
                      <a16:colId xmlns:a16="http://schemas.microsoft.com/office/drawing/2014/main" val="1656556937"/>
                    </a:ext>
                  </a:extLst>
                </a:gridCol>
                <a:gridCol w="1374928">
                  <a:extLst>
                    <a:ext uri="{9D8B030D-6E8A-4147-A177-3AD203B41FA5}">
                      <a16:colId xmlns:a16="http://schemas.microsoft.com/office/drawing/2014/main" val="1728902585"/>
                    </a:ext>
                  </a:extLst>
                </a:gridCol>
                <a:gridCol w="1404732">
                  <a:extLst>
                    <a:ext uri="{9D8B030D-6E8A-4147-A177-3AD203B41FA5}">
                      <a16:colId xmlns:a16="http://schemas.microsoft.com/office/drawing/2014/main" val="3883355395"/>
                    </a:ext>
                  </a:extLst>
                </a:gridCol>
                <a:gridCol w="1345125">
                  <a:extLst>
                    <a:ext uri="{9D8B030D-6E8A-4147-A177-3AD203B41FA5}">
                      <a16:colId xmlns:a16="http://schemas.microsoft.com/office/drawing/2014/main" val="3493086366"/>
                    </a:ext>
                  </a:extLst>
                </a:gridCol>
              </a:tblGrid>
              <a:tr h="298521"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effectLst/>
                        </a:rPr>
                        <a:t>Author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effectLst/>
                        </a:rPr>
                        <a:t>Approach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effectLst/>
                        </a:rPr>
                        <a:t>Method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>
                          <a:effectLst/>
                        </a:rPr>
                        <a:t>Available</a:t>
                      </a:r>
                      <a:endParaRPr lang="en-GB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>
                          <a:effectLst/>
                        </a:rPr>
                        <a:t>Platform</a:t>
                      </a:r>
                      <a:endParaRPr lang="en-GB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>
                          <a:effectLst/>
                        </a:rPr>
                        <a:t>Real-time</a:t>
                      </a:r>
                      <a:endParaRPr lang="en-GB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>
                          <a:effectLst/>
                        </a:rPr>
                        <a:t>Lightning</a:t>
                      </a:r>
                      <a:endParaRPr lang="en-GB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1950250347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Brooks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rowSpan="4"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 dirty="0">
                          <a:effectLst/>
                        </a:rPr>
                        <a:t>Signal-based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Physically-inspired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Yes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Max MSP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Yes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No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3744726150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 err="1">
                          <a:effectLst/>
                        </a:rPr>
                        <a:t>Cundangan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Yes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Max/Unity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Yes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3D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1265766334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Farnell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 dirty="0">
                          <a:effectLst/>
                        </a:rPr>
                        <a:t>Yes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PureData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Yes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No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3888138728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Selfridge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 dirty="0">
                          <a:effectLst/>
                        </a:rPr>
                        <a:t>Yes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JavaScript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Yes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2D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1326776658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Unknown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 dirty="0">
                          <a:effectLst/>
                        </a:rPr>
                        <a:t>Physical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WM Wave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 dirty="0">
                          <a:effectLst/>
                        </a:rPr>
                        <a:t>Yes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 err="1">
                          <a:effectLst/>
                        </a:rPr>
                        <a:t>Matlab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?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3D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2760169305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Glassner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No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?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?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3D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2190653954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Blanco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 dirty="0">
                          <a:effectLst/>
                        </a:rPr>
                        <a:t>On request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 err="1">
                          <a:effectLst/>
                        </a:rPr>
                        <a:t>Matlab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No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2D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2336008446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Dunkin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No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Matlab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No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3D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1558528477"/>
                  </a:ext>
                </a:extLst>
              </a:tr>
              <a:tr h="47498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Saksela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 err="1">
                          <a:effectLst/>
                        </a:rPr>
                        <a:t>Brode</a:t>
                      </a:r>
                      <a:r>
                        <a:rPr lang="en-GB" sz="2000" u="none" strike="noStrike" dirty="0">
                          <a:effectLst/>
                        </a:rPr>
                        <a:t> waves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Yes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JavaScript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No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3D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3695461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34003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C916C0-76F6-477D-8548-E95BD5CB8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333F0C-AD02-41D7-BFBB-D95129AE45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287" y="5057776"/>
            <a:ext cx="11273425" cy="1049338"/>
          </a:xfrm>
        </p:spPr>
        <p:txBody>
          <a:bodyPr/>
          <a:lstStyle/>
          <a:p>
            <a:r>
              <a:rPr lang="en-GB" dirty="0"/>
              <a:t>See paper for samples &amp; link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A3CEB7A-9576-46BA-B344-6711BD2B5D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3054948"/>
              </p:ext>
            </p:extLst>
          </p:nvPr>
        </p:nvGraphicFramePr>
        <p:xfrm>
          <a:off x="709055" y="1699079"/>
          <a:ext cx="10663242" cy="32734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7584">
                  <a:extLst>
                    <a:ext uri="{9D8B030D-6E8A-4147-A177-3AD203B41FA5}">
                      <a16:colId xmlns:a16="http://schemas.microsoft.com/office/drawing/2014/main" val="4198252072"/>
                    </a:ext>
                  </a:extLst>
                </a:gridCol>
                <a:gridCol w="1712698">
                  <a:extLst>
                    <a:ext uri="{9D8B030D-6E8A-4147-A177-3AD203B41FA5}">
                      <a16:colId xmlns:a16="http://schemas.microsoft.com/office/drawing/2014/main" val="1169326488"/>
                    </a:ext>
                  </a:extLst>
                </a:gridCol>
                <a:gridCol w="1801051">
                  <a:extLst>
                    <a:ext uri="{9D8B030D-6E8A-4147-A177-3AD203B41FA5}">
                      <a16:colId xmlns:a16="http://schemas.microsoft.com/office/drawing/2014/main" val="706026016"/>
                    </a:ext>
                  </a:extLst>
                </a:gridCol>
                <a:gridCol w="1547124">
                  <a:extLst>
                    <a:ext uri="{9D8B030D-6E8A-4147-A177-3AD203B41FA5}">
                      <a16:colId xmlns:a16="http://schemas.microsoft.com/office/drawing/2014/main" val="1656556937"/>
                    </a:ext>
                  </a:extLst>
                </a:gridCol>
                <a:gridCol w="1374928">
                  <a:extLst>
                    <a:ext uri="{9D8B030D-6E8A-4147-A177-3AD203B41FA5}">
                      <a16:colId xmlns:a16="http://schemas.microsoft.com/office/drawing/2014/main" val="1728902585"/>
                    </a:ext>
                  </a:extLst>
                </a:gridCol>
                <a:gridCol w="1404732">
                  <a:extLst>
                    <a:ext uri="{9D8B030D-6E8A-4147-A177-3AD203B41FA5}">
                      <a16:colId xmlns:a16="http://schemas.microsoft.com/office/drawing/2014/main" val="3883355395"/>
                    </a:ext>
                  </a:extLst>
                </a:gridCol>
                <a:gridCol w="1345125">
                  <a:extLst>
                    <a:ext uri="{9D8B030D-6E8A-4147-A177-3AD203B41FA5}">
                      <a16:colId xmlns:a16="http://schemas.microsoft.com/office/drawing/2014/main" val="3493086366"/>
                    </a:ext>
                  </a:extLst>
                </a:gridCol>
              </a:tblGrid>
              <a:tr h="298521"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effectLst/>
                        </a:rPr>
                        <a:t>Author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effectLst/>
                        </a:rPr>
                        <a:t>Approach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effectLst/>
                        </a:rPr>
                        <a:t>Method</a:t>
                      </a:r>
                      <a:endParaRPr lang="en-GB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>
                          <a:effectLst/>
                        </a:rPr>
                        <a:t>Available</a:t>
                      </a:r>
                      <a:endParaRPr lang="en-GB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>
                          <a:effectLst/>
                        </a:rPr>
                        <a:t>Platform</a:t>
                      </a:r>
                      <a:endParaRPr lang="en-GB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>
                          <a:effectLst/>
                        </a:rPr>
                        <a:t>Real-time</a:t>
                      </a:r>
                      <a:endParaRPr lang="en-GB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>
                          <a:effectLst/>
                        </a:rPr>
                        <a:t>Lightning</a:t>
                      </a:r>
                      <a:endParaRPr lang="en-GB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1950250347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Brooks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rowSpan="4"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 dirty="0">
                          <a:effectLst/>
                        </a:rPr>
                        <a:t>Signal-based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Physically-inspired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Yes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ax MSP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Yes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o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3744726150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 err="1">
                          <a:effectLst/>
                        </a:rPr>
                        <a:t>Cundangan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Yes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Max/Unity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Yes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3D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1265766334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Farnell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Yes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 err="1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ureData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Yes</a:t>
                      </a:r>
                      <a:endParaRPr lang="en-GB" sz="2000" b="1" i="0" u="none" strike="noStrike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o</a:t>
                      </a:r>
                      <a:endParaRPr lang="en-GB" sz="2000" b="1" i="0" u="none" strike="noStrike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3888138728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elfridge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Yes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JavaScript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Yes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D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1326776658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Unknown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 dirty="0">
                          <a:effectLst/>
                        </a:rPr>
                        <a:t>Physical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WM Wave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 dirty="0">
                          <a:effectLst/>
                        </a:rPr>
                        <a:t>Yes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 err="1">
                          <a:effectLst/>
                        </a:rPr>
                        <a:t>Matlab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?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3D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2760169305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Glassner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No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?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?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3D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2190653954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Blanco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On request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 err="1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atlab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o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D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2336008446"/>
                  </a:ext>
                </a:extLst>
              </a:tr>
              <a:tr h="2985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Dunkin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u="none" strike="noStrike">
                          <a:effectLst/>
                        </a:rPr>
                        <a:t>No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>
                          <a:effectLst/>
                        </a:rPr>
                        <a:t>Matlab</a:t>
                      </a:r>
                      <a:endParaRPr lang="en-GB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No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>
                          <a:effectLst/>
                        </a:rPr>
                        <a:t>3D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1558528477"/>
                  </a:ext>
                </a:extLst>
              </a:tr>
              <a:tr h="47498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 err="1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aksela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u="none" strike="noStrike" dirty="0" err="1">
                          <a:effectLst/>
                        </a:rPr>
                        <a:t>Brode</a:t>
                      </a:r>
                      <a:r>
                        <a:rPr lang="en-GB" sz="2000" u="none" strike="noStrike" dirty="0">
                          <a:effectLst/>
                        </a:rPr>
                        <a:t> waves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Yes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JavaScript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o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000" b="1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3D</a:t>
                      </a:r>
                      <a:endParaRPr lang="en-GB" sz="2000" b="1" i="0" u="none" strike="noStrike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</a:endParaRPr>
                    </a:p>
                  </a:txBody>
                  <a:tcPr marL="6141" marR="6141" marT="6141" marB="0" anchor="ctr"/>
                </a:tc>
                <a:extLst>
                  <a:ext uri="{0D108BD9-81ED-4DB2-BD59-A6C34878D82A}">
                    <a16:rowId xmlns:a16="http://schemas.microsoft.com/office/drawing/2014/main" val="3695461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4734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20</Words>
  <Application>Microsoft Office PowerPoint</Application>
  <PresentationFormat>Widescreen</PresentationFormat>
  <Paragraphs>174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A comparative perceptual evaluation of thunder synthesis techniques</vt:lpstr>
      <vt:lpstr>Thunder!</vt:lpstr>
      <vt:lpstr>The physics of thunder</vt:lpstr>
      <vt:lpstr>Modeling – Huygens principle</vt:lpstr>
      <vt:lpstr>Modeling – WM Wave</vt:lpstr>
      <vt:lpstr>Other aspects</vt:lpstr>
      <vt:lpstr>The models</vt:lpstr>
      <vt:lpstr>The models</vt:lpstr>
      <vt:lpstr>Listening test</vt:lpstr>
      <vt:lpstr>Results</vt:lpstr>
      <vt:lpstr>Conclusions</vt:lpstr>
      <vt:lpstr>Future work – the ultimate mod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h Reiss</dc:creator>
  <cp:lastModifiedBy>Josh Reiss</cp:lastModifiedBy>
  <cp:revision>1</cp:revision>
  <dcterms:created xsi:type="dcterms:W3CDTF">2021-04-29T09:18:57Z</dcterms:created>
  <dcterms:modified xsi:type="dcterms:W3CDTF">2021-04-29T13:10:13Z</dcterms:modified>
</cp:coreProperties>
</file>